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671" r:id="rId4"/>
    <p:sldMasterId id="2147484693" r:id="rId5"/>
  </p:sldMasterIdLst>
  <p:notesMasterIdLst>
    <p:notesMasterId r:id="rId15"/>
  </p:notesMasterIdLst>
  <p:handoutMasterIdLst>
    <p:handoutMasterId r:id="rId16"/>
  </p:handoutMasterIdLst>
  <p:sldIdLst>
    <p:sldId id="2145706106" r:id="rId6"/>
    <p:sldId id="2145706114" r:id="rId7"/>
    <p:sldId id="2145706110" r:id="rId8"/>
    <p:sldId id="2145706108" r:id="rId9"/>
    <p:sldId id="2145706112" r:id="rId10"/>
    <p:sldId id="2145706113" r:id="rId11"/>
    <p:sldId id="2145706109" r:id="rId12"/>
    <p:sldId id="2145706107" r:id="rId13"/>
    <p:sldId id="2145706111" r:id="rId14"/>
  </p:sldIdLst>
  <p:sldSz cx="11522075" cy="6480175"/>
  <p:notesSz cx="6797675" cy="9928225"/>
  <p:custDataLst>
    <p:tags r:id="rId17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IS" id="{1D5095D5-6BEA-43F9-987B-AEC38D6E12F6}">
          <p14:sldIdLst>
            <p14:sldId id="2145706106"/>
            <p14:sldId id="2145706114"/>
            <p14:sldId id="2145706110"/>
            <p14:sldId id="2145706108"/>
            <p14:sldId id="2145706112"/>
            <p14:sldId id="2145706113"/>
            <p14:sldId id="2145706109"/>
            <p14:sldId id="2145706107"/>
            <p14:sldId id="2145706111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Autor" initials="A" lastIdx="0" clrIdx="1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F2F2F2"/>
    <a:srgbClr val="000000"/>
    <a:srgbClr val="A7D2C8"/>
    <a:srgbClr val="BFCB44"/>
    <a:srgbClr val="1BADA2"/>
    <a:srgbClr val="53BAF2"/>
    <a:srgbClr val="D0D0D0"/>
    <a:srgbClr val="E5E5E5"/>
    <a:srgbClr val="106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69BFD4-F4A0-4F95-B48D-9B396BC8750F}" v="31" dt="2022-04-05T07:04:09.4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9" autoAdjust="0"/>
    <p:restoredTop sz="93082" autoAdjust="0"/>
  </p:normalViewPr>
  <p:slideViewPr>
    <p:cSldViewPr snapToGrid="0" snapToObjects="1">
      <p:cViewPr varScale="1">
        <p:scale>
          <a:sx n="123" d="100"/>
          <a:sy n="123" d="100"/>
        </p:scale>
        <p:origin x="96" y="16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4014" y="96"/>
      </p:cViewPr>
      <p:guideLst>
        <p:guide orient="horz" pos="3127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7835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76621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1739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6528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78355" y="261995"/>
            <a:ext cx="262781" cy="351625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2" name="Gruppieren 31"/>
          <p:cNvGrpSpPr/>
          <p:nvPr/>
        </p:nvGrpSpPr>
        <p:grpSpPr>
          <a:xfrm>
            <a:off x="5208404" y="411954"/>
            <a:ext cx="1109343" cy="93077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2" userDrawn="1">
          <p15:clr>
            <a:srgbClr val="F26B43"/>
          </p15:clr>
        </p15:guide>
        <p15:guide id="2" pos="398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5263" y="403225"/>
            <a:ext cx="6407150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gend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36F3DE4-315C-49E2-B15B-355BB73E7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99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36F3DE4-315C-49E2-B15B-355BB73E7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411478" y="308530"/>
            <a:ext cx="10698407" cy="553998"/>
          </a:xfrm>
          <a:noFill/>
        </p:spPr>
        <p:txBody>
          <a:bodyPr vert="horz" wrap="square" lIns="0" tIns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122240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753D985-A9FD-4764-9B68-2C7587A05E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989430" y="0"/>
            <a:ext cx="6532645" cy="6480175"/>
          </a:xfrm>
          <a:custGeom>
            <a:avLst/>
            <a:gdLst>
              <a:gd name="connsiteX0" fmla="*/ 1020613 w 6912471"/>
              <a:gd name="connsiteY0" fmla="*/ 0 h 6858000"/>
              <a:gd name="connsiteX1" fmla="*/ 6912471 w 6912471"/>
              <a:gd name="connsiteY1" fmla="*/ 0 h 6858000"/>
              <a:gd name="connsiteX2" fmla="*/ 6912471 w 6912471"/>
              <a:gd name="connsiteY2" fmla="*/ 6858000 h 6858000"/>
              <a:gd name="connsiteX3" fmla="*/ 0 w 6912471"/>
              <a:gd name="connsiteY3" fmla="*/ 6858000 h 6858000"/>
              <a:gd name="connsiteX4" fmla="*/ 4907 w 6912471"/>
              <a:gd name="connsiteY4" fmla="*/ 6809259 h 6858000"/>
              <a:gd name="connsiteX5" fmla="*/ 708823 w 6912471"/>
              <a:gd name="connsiteY5" fmla="*/ 6235368 h 6858000"/>
              <a:gd name="connsiteX6" fmla="*/ 2113155 w 6912471"/>
              <a:gd name="connsiteY6" fmla="*/ 6235368 h 6858000"/>
              <a:gd name="connsiteX7" fmla="*/ 2192070 w 6912471"/>
              <a:gd name="connsiteY7" fmla="*/ 6235368 h 6858000"/>
              <a:gd name="connsiteX8" fmla="*/ 2910597 w 6912471"/>
              <a:gd name="connsiteY8" fmla="*/ 5516290 h 6858000"/>
              <a:gd name="connsiteX9" fmla="*/ 2910597 w 6912471"/>
              <a:gd name="connsiteY9" fmla="*/ 1498449 h 6858000"/>
              <a:gd name="connsiteX10" fmla="*/ 2192070 w 6912471"/>
              <a:gd name="connsiteY10" fmla="*/ 779372 h 6858000"/>
              <a:gd name="connsiteX11" fmla="*/ 2113155 w 6912471"/>
              <a:gd name="connsiteY11" fmla="*/ 779372 h 6858000"/>
              <a:gd name="connsiteX12" fmla="*/ 1739139 w 6912471"/>
              <a:gd name="connsiteY12" fmla="*/ 779372 h 6858000"/>
              <a:gd name="connsiteX13" fmla="*/ 1020613 w 6912471"/>
              <a:gd name="connsiteY13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12471" h="6858000">
                <a:moveTo>
                  <a:pt x="1020613" y="0"/>
                </a:moveTo>
                <a:lnTo>
                  <a:pt x="6912471" y="0"/>
                </a:lnTo>
                <a:lnTo>
                  <a:pt x="6912471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13155" y="6235368"/>
                </a:ln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2113155" y="779372"/>
                </a:ln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035" y="1879421"/>
            <a:ext cx="6600244" cy="2313133"/>
          </a:xfrm>
        </p:spPr>
        <p:txBody>
          <a:bodyPr anchor="b"/>
          <a:lstStyle>
            <a:lvl1pPr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4351122"/>
            <a:ext cx="6600244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2515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4F48F58B-A7D8-4498-A74C-4D7FA8671D8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6881901" cy="6480175"/>
          </a:xfrm>
          <a:custGeom>
            <a:avLst/>
            <a:gdLst>
              <a:gd name="connsiteX0" fmla="*/ 0 w 7282034"/>
              <a:gd name="connsiteY0" fmla="*/ 0 h 6858000"/>
              <a:gd name="connsiteX1" fmla="*/ 7282034 w 7282034"/>
              <a:gd name="connsiteY1" fmla="*/ 0 h 6858000"/>
              <a:gd name="connsiteX2" fmla="*/ 7282034 w 7282034"/>
              <a:gd name="connsiteY2" fmla="*/ 630974 h 6858000"/>
              <a:gd name="connsiteX3" fmla="*/ 6567195 w 7282034"/>
              <a:gd name="connsiteY3" fmla="*/ 1478485 h 6858000"/>
              <a:gd name="connsiteX4" fmla="*/ 6485935 w 7282034"/>
              <a:gd name="connsiteY4" fmla="*/ 1482876 h 6858000"/>
              <a:gd name="connsiteX5" fmla="*/ 5163973 w 7282034"/>
              <a:gd name="connsiteY5" fmla="*/ 1482876 h 6858000"/>
              <a:gd name="connsiteX6" fmla="*/ 5163954 w 7282034"/>
              <a:gd name="connsiteY6" fmla="*/ 1482877 h 6858000"/>
              <a:gd name="connsiteX7" fmla="*/ 5092709 w 7282034"/>
              <a:gd name="connsiteY7" fmla="*/ 1482877 h 6858000"/>
              <a:gd name="connsiteX8" fmla="*/ 4296592 w 7282034"/>
              <a:gd name="connsiteY8" fmla="*/ 2334779 h 6858000"/>
              <a:gd name="connsiteX9" fmla="*/ 4296592 w 7282034"/>
              <a:gd name="connsiteY9" fmla="*/ 6858000 h 6858000"/>
              <a:gd name="connsiteX10" fmla="*/ 0 w 7282034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82034" h="6858000">
                <a:moveTo>
                  <a:pt x="0" y="0"/>
                </a:moveTo>
                <a:lnTo>
                  <a:pt x="7282034" y="0"/>
                </a:lnTo>
                <a:lnTo>
                  <a:pt x="7282034" y="630974"/>
                </a:lnTo>
                <a:cubicBezTo>
                  <a:pt x="7282034" y="1072616"/>
                  <a:pt x="6968122" y="1434922"/>
                  <a:pt x="6567195" y="1478485"/>
                </a:cubicBezTo>
                <a:lnTo>
                  <a:pt x="6485935" y="1482876"/>
                </a:lnTo>
                <a:lnTo>
                  <a:pt x="5163973" y="1482876"/>
                </a:lnTo>
                <a:lnTo>
                  <a:pt x="5163954" y="1482877"/>
                </a:lnTo>
                <a:lnTo>
                  <a:pt x="5092709" y="1482877"/>
                </a:lnTo>
                <a:cubicBezTo>
                  <a:pt x="4653755" y="1482877"/>
                  <a:pt x="4296592" y="1863694"/>
                  <a:pt x="4296592" y="2334779"/>
                </a:cubicBezTo>
                <a:lnTo>
                  <a:pt x="42965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40381" y="1879421"/>
            <a:ext cx="6328069" cy="2313133"/>
          </a:xfrm>
        </p:spPr>
        <p:txBody>
          <a:bodyPr anchor="b"/>
          <a:lstStyle>
            <a:lvl1pPr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40381" y="4350839"/>
            <a:ext cx="6328069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1695356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287296" y="0"/>
            <a:ext cx="6234779" cy="6480175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E672D56-15CA-4A30-BD95-1720D4510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3035" y="382688"/>
            <a:ext cx="5171325" cy="6803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70456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82" y="1403210"/>
            <a:ext cx="10615912" cy="4626953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CAB5A7-FCF2-4304-9763-DF06FCF445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2E0567-36A2-40E6-871A-F7CFABE600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43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07BA7844-79FB-4134-9E27-FC31F6528B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0907AE-8864-4AC0-A879-AAABC79A06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9143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946887-58C2-463F-973E-3197B8AC64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5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97715" y="1401984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CCDACF-6717-47AC-AFF3-BD55D223381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8834F5-8BD1-47C8-92D0-13895D504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062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3334144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059754" y="1402538"/>
            <a:ext cx="3402188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7734896" y="1402538"/>
            <a:ext cx="3334144" cy="462762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A285C3-C25F-44EA-AA94-B352A32E66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F697A7-E7AF-430A-9251-E1177E3F00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100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175360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5897140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8619465" y="1402538"/>
            <a:ext cx="244957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4F69BE-3497-4715-B2D5-A46E84AD47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A769A84-C986-456D-93E3-D7BB98161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009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9D2F5FC9-E9D6-48D9-94C2-3D03C76371BA}"/>
              </a:ext>
            </a:extLst>
          </p:cNvPr>
          <p:cNvSpPr/>
          <p:nvPr userDrawn="1"/>
        </p:nvSpPr>
        <p:spPr bwMode="gray">
          <a:xfrm>
            <a:off x="7734889" y="1403187"/>
            <a:ext cx="3334105" cy="5076988"/>
          </a:xfrm>
          <a:custGeom>
            <a:avLst/>
            <a:gdLst>
              <a:gd name="connsiteX0" fmla="*/ 521984 w 3527959"/>
              <a:gd name="connsiteY0" fmla="*/ 0 h 5373000"/>
              <a:gd name="connsiteX1" fmla="*/ 593943 w 3527959"/>
              <a:gd name="connsiteY1" fmla="*/ 0 h 5373000"/>
              <a:gd name="connsiteX2" fmla="*/ 2933364 w 3527959"/>
              <a:gd name="connsiteY2" fmla="*/ 0 h 5373000"/>
              <a:gd name="connsiteX3" fmla="*/ 3005323 w 3527959"/>
              <a:gd name="connsiteY3" fmla="*/ 0 h 5373000"/>
              <a:gd name="connsiteX4" fmla="*/ 3527307 w 3527959"/>
              <a:gd name="connsiteY4" fmla="*/ 522636 h 5373000"/>
              <a:gd name="connsiteX5" fmla="*/ 3527307 w 3527959"/>
              <a:gd name="connsiteY5" fmla="*/ 1800000 h 5373000"/>
              <a:gd name="connsiteX6" fmla="*/ 3527959 w 3527959"/>
              <a:gd name="connsiteY6" fmla="*/ 1800000 h 5373000"/>
              <a:gd name="connsiteX7" fmla="*/ 3527959 w 3527959"/>
              <a:gd name="connsiteY7" fmla="*/ 5373000 h 5373000"/>
              <a:gd name="connsiteX8" fmla="*/ 3456000 w 3527959"/>
              <a:gd name="connsiteY8" fmla="*/ 5373000 h 5373000"/>
              <a:gd name="connsiteX9" fmla="*/ 71959 w 3527959"/>
              <a:gd name="connsiteY9" fmla="*/ 5373000 h 5373000"/>
              <a:gd name="connsiteX10" fmla="*/ 0 w 3527959"/>
              <a:gd name="connsiteY10" fmla="*/ 5373000 h 5373000"/>
              <a:gd name="connsiteX11" fmla="*/ 0 w 3527959"/>
              <a:gd name="connsiteY11" fmla="*/ 4820371 h 5373000"/>
              <a:gd name="connsiteX12" fmla="*/ 0 w 3527959"/>
              <a:gd name="connsiteY12" fmla="*/ 1800000 h 5373000"/>
              <a:gd name="connsiteX13" fmla="*/ 0 w 3527959"/>
              <a:gd name="connsiteY13" fmla="*/ 522636 h 5373000"/>
              <a:gd name="connsiteX14" fmla="*/ 521984 w 3527959"/>
              <a:gd name="connsiteY14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527959" h="5373000">
                <a:moveTo>
                  <a:pt x="521984" y="0"/>
                </a:moveTo>
                <a:lnTo>
                  <a:pt x="593943" y="0"/>
                </a:lnTo>
                <a:lnTo>
                  <a:pt x="2933364" y="0"/>
                </a:lnTo>
                <a:lnTo>
                  <a:pt x="3005323" y="0"/>
                </a:lnTo>
                <a:cubicBezTo>
                  <a:pt x="3295749" y="0"/>
                  <a:pt x="3527525" y="235469"/>
                  <a:pt x="3527307" y="522636"/>
                </a:cubicBezTo>
                <a:lnTo>
                  <a:pt x="3527307" y="1800000"/>
                </a:lnTo>
                <a:lnTo>
                  <a:pt x="3527959" y="1800000"/>
                </a:lnTo>
                <a:lnTo>
                  <a:pt x="3527959" y="5373000"/>
                </a:lnTo>
                <a:lnTo>
                  <a:pt x="3456000" y="5373000"/>
                </a:lnTo>
                <a:lnTo>
                  <a:pt x="71959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2173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538"/>
            <a:ext cx="3334144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059754" y="1402538"/>
            <a:ext cx="3402188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825369-F068-4158-B374-7F0B983727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3CABB6E-BA23-427E-93AE-7C780507E8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140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8" name="Fußzeilenplatzhalter 11">
            <a:extLst>
              <a:ext uri="{FF2B5EF4-FFF2-40B4-BE49-F238E27FC236}">
                <a16:creationId xmlns:a16="http://schemas.microsoft.com/office/drawing/2014/main" id="{AD6DB477-6C14-4284-BB61-351480EB93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9" name="Datumsplatzhalter 9">
            <a:extLst>
              <a:ext uri="{FF2B5EF4-FFF2-40B4-BE49-F238E27FC236}">
                <a16:creationId xmlns:a16="http://schemas.microsoft.com/office/drawing/2014/main" id="{79FE4946-E42E-463A-94CD-3CB65CD191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10">
            <a:extLst>
              <a:ext uri="{FF2B5EF4-FFF2-40B4-BE49-F238E27FC236}">
                <a16:creationId xmlns:a16="http://schemas.microsoft.com/office/drawing/2014/main" id="{E504E10B-A399-4D07-ADAF-03D2F75E54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33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53035" y="1402798"/>
            <a:ext cx="3334144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EDF5FD-17AD-45A2-BFE4-CB2E27106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CAC558B-6BCB-4C10-847A-4ADA1E567F69}"/>
              </a:ext>
            </a:extLst>
          </p:cNvPr>
          <p:cNvSpPr/>
          <p:nvPr userDrawn="1"/>
        </p:nvSpPr>
        <p:spPr bwMode="gray">
          <a:xfrm>
            <a:off x="4059755" y="1403187"/>
            <a:ext cx="7462320" cy="4023283"/>
          </a:xfrm>
          <a:custGeom>
            <a:avLst/>
            <a:gdLst>
              <a:gd name="connsiteX0" fmla="*/ 442664 w 7896200"/>
              <a:gd name="connsiteY0" fmla="*/ 0 h 4257860"/>
              <a:gd name="connsiteX1" fmla="*/ 7560840 w 7896200"/>
              <a:gd name="connsiteY1" fmla="*/ 0 h 4257860"/>
              <a:gd name="connsiteX2" fmla="*/ 7821980 w 7896200"/>
              <a:gd name="connsiteY2" fmla="*/ 0 h 4257860"/>
              <a:gd name="connsiteX3" fmla="*/ 7896200 w 7896200"/>
              <a:gd name="connsiteY3" fmla="*/ 0 h 4257860"/>
              <a:gd name="connsiteX4" fmla="*/ 7896200 w 7896200"/>
              <a:gd name="connsiteY4" fmla="*/ 4257860 h 4257860"/>
              <a:gd name="connsiteX5" fmla="*/ 7821980 w 7896200"/>
              <a:gd name="connsiteY5" fmla="*/ 4257860 h 4257860"/>
              <a:gd name="connsiteX6" fmla="*/ 7560840 w 7896200"/>
              <a:gd name="connsiteY6" fmla="*/ 4257860 h 4257860"/>
              <a:gd name="connsiteX7" fmla="*/ 442664 w 7896200"/>
              <a:gd name="connsiteY7" fmla="*/ 4257860 h 4257860"/>
              <a:gd name="connsiteX8" fmla="*/ 0 w 7896200"/>
              <a:gd name="connsiteY8" fmla="*/ 3814543 h 4257860"/>
              <a:gd name="connsiteX9" fmla="*/ 0 w 7896200"/>
              <a:gd name="connsiteY9" fmla="*/ 443317 h 4257860"/>
              <a:gd name="connsiteX10" fmla="*/ 442664 w 7896200"/>
              <a:gd name="connsiteY10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96200" h="4257860">
                <a:moveTo>
                  <a:pt x="442664" y="0"/>
                </a:moveTo>
                <a:lnTo>
                  <a:pt x="7560840" y="0"/>
                </a:lnTo>
                <a:lnTo>
                  <a:pt x="7821980" y="0"/>
                </a:lnTo>
                <a:lnTo>
                  <a:pt x="7896200" y="0"/>
                </a:lnTo>
                <a:lnTo>
                  <a:pt x="7896200" y="4257860"/>
                </a:lnTo>
                <a:lnTo>
                  <a:pt x="7821980" y="4257860"/>
                </a:lnTo>
                <a:lnTo>
                  <a:pt x="756084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033" tIns="68033" rIns="68033" bIns="68033" rtlCol="0" anchor="ctr">
            <a:noAutofit/>
          </a:bodyPr>
          <a:lstStyle/>
          <a:p>
            <a:pPr algn="ctr"/>
            <a:endParaRPr lang="en-US" sz="2173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0E3BC7C-32C8-437B-8F9B-716FE52AD57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6F6437-1F47-4408-837D-4CA69A8278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420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90392" y="2763854"/>
            <a:ext cx="7317183" cy="2313133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378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134"/>
              </a:spcBef>
              <a:spcAft>
                <a:spcPts val="0"/>
              </a:spcAft>
              <a:buFont typeface="+mn-lt" panose="020B0604020202020204" pitchFamily="34" charset="0"/>
              <a:buNone/>
              <a:defRPr sz="1701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82E544-7C5C-421B-817A-832EDFE06F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624935" cy="6480175"/>
          </a:xfrm>
          <a:custGeom>
            <a:avLst/>
            <a:gdLst>
              <a:gd name="connsiteX0" fmla="*/ 0 w 5951984"/>
              <a:gd name="connsiteY0" fmla="*/ 0 h 6858000"/>
              <a:gd name="connsiteX1" fmla="*/ 5951984 w 5951984"/>
              <a:gd name="connsiteY1" fmla="*/ 0 h 6858000"/>
              <a:gd name="connsiteX2" fmla="*/ 5951984 w 5951984"/>
              <a:gd name="connsiteY2" fmla="*/ 808991 h 6858000"/>
              <a:gd name="connsiteX3" fmla="*/ 5293418 w 5951984"/>
              <a:gd name="connsiteY3" fmla="*/ 1482091 h 6858000"/>
              <a:gd name="connsiteX4" fmla="*/ 1286265 w 5951984"/>
              <a:gd name="connsiteY4" fmla="*/ 1482091 h 6858000"/>
              <a:gd name="connsiteX5" fmla="*/ 1141152 w 5951984"/>
              <a:gd name="connsiteY5" fmla="*/ 1482091 h 6858000"/>
              <a:gd name="connsiteX6" fmla="*/ 482587 w 5951984"/>
              <a:gd name="connsiteY6" fmla="*/ 2155191 h 6858000"/>
              <a:gd name="connsiteX7" fmla="*/ 482587 w 5951984"/>
              <a:gd name="connsiteY7" fmla="*/ 6858000 h 6858000"/>
              <a:gd name="connsiteX8" fmla="*/ 0 w 5951984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51984" h="6858000">
                <a:moveTo>
                  <a:pt x="0" y="0"/>
                </a:moveTo>
                <a:lnTo>
                  <a:pt x="5951984" y="0"/>
                </a:lnTo>
                <a:lnTo>
                  <a:pt x="5951984" y="808991"/>
                </a:lnTo>
                <a:cubicBezTo>
                  <a:pt x="5951984" y="1181100"/>
                  <a:pt x="5657028" y="1482091"/>
                  <a:pt x="5293418" y="1482091"/>
                </a:cubicBezTo>
                <a:lnTo>
                  <a:pt x="1286265" y="1482091"/>
                </a:lnTo>
                <a:lnTo>
                  <a:pt x="1141152" y="1482091"/>
                </a:lnTo>
                <a:cubicBezTo>
                  <a:pt x="777543" y="1482091"/>
                  <a:pt x="482587" y="1783080"/>
                  <a:pt x="482587" y="2155191"/>
                </a:cubicBezTo>
                <a:lnTo>
                  <a:pt x="4825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 defTabSz="169504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695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</p:spTree>
    <p:extLst>
      <p:ext uri="{BB962C8B-B14F-4D97-AF65-F5344CB8AC3E}">
        <p14:creationId xmlns:p14="http://schemas.microsoft.com/office/powerpoint/2010/main" val="2586353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897140" y="1402538"/>
            <a:ext cx="5626084" cy="462626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539549" algn="l"/>
              </a:tabLst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53035" y="1402538"/>
            <a:ext cx="5171325" cy="462626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666DA3C-926F-4EC4-9514-427BC43B16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FFEC28-8502-4C97-9901-B0E5187A79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46FF63-32DD-4F94-A3B9-DEE1354F0F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10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7734896" y="1402538"/>
            <a:ext cx="3334144" cy="4626267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3035" y="1403482"/>
            <a:ext cx="7008506" cy="4626267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D320FC-1745-4ABC-85D6-471E8EC829C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501084-378C-41A0-8852-DE0E44E8B6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252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55E8CB7-F14B-4652-B6B2-A80BA2609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D87DE1D-7ACF-4AB8-AF79-18AC50E43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1135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53082" y="0"/>
            <a:ext cx="11068993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05CD262-FAEC-4FAF-93B6-86C05CA2D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0D4A09-6BB9-4A0D-B3DF-825501C01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21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07175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1477" y="1388377"/>
            <a:ext cx="10698407" cy="416513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Fußzeilenplatzhalter 11">
            <a:extLst>
              <a:ext uri="{FF2B5EF4-FFF2-40B4-BE49-F238E27FC236}">
                <a16:creationId xmlns:a16="http://schemas.microsoft.com/office/drawing/2014/main" id="{2F6D9D71-7688-476C-B081-2162B59219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ED6F93B4-4E99-4523-8B19-EAD0FC31BA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0">
            <a:extLst>
              <a:ext uri="{FF2B5EF4-FFF2-40B4-BE49-F238E27FC236}">
                <a16:creationId xmlns:a16="http://schemas.microsoft.com/office/drawing/2014/main" id="{D3379A81-550D-4E93-AF14-DD104A59A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9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 err="1"/>
              <a:t>TeleNeo</a:t>
            </a:r>
            <a:r>
              <a:rPr lang="de-DE" dirty="0"/>
              <a:t> Office </a:t>
            </a:r>
            <a:r>
              <a:rPr lang="de-DE" dirty="0" err="1"/>
              <a:t>ExtraBold</a:t>
            </a:r>
            <a:r>
              <a:rPr lang="de-DE" dirty="0"/>
              <a:t>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08DA44C-F371-4566-9EE4-FABE620F67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477" y="1388378"/>
            <a:ext cx="3438145" cy="4473659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 marL="155100" indent="-154264">
              <a:buClr>
                <a:schemeClr val="tx1"/>
              </a:buClr>
              <a:defRPr sz="1600">
                <a:latin typeface="+mn-lt"/>
              </a:defRPr>
            </a:lvl3pPr>
            <a:lvl4pPr marL="308529" indent="-154264">
              <a:buClr>
                <a:schemeClr val="tx1"/>
              </a:buClr>
              <a:defRPr sz="1600">
                <a:latin typeface="+mn-lt"/>
              </a:defRPr>
            </a:lvl4pPr>
            <a:lvl5pPr marL="0" indent="0">
              <a:spcBef>
                <a:spcPts val="686"/>
              </a:spcBef>
              <a:spcAft>
                <a:spcPts val="686"/>
              </a:spcAft>
              <a:buClr>
                <a:schemeClr val="tx1"/>
              </a:buClr>
              <a:buNone/>
              <a:defRPr sz="1600">
                <a:solidFill>
                  <a:schemeClr val="tx2"/>
                </a:solidFill>
                <a:latin typeface="+mn-lt"/>
              </a:defRPr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70799161-F002-47F5-BE55-8036F1A3E0C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43836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1B0D8F70-2D64-45C3-BD8D-287AE5A51FF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673968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1">
            <a:extLst>
              <a:ext uri="{FF2B5EF4-FFF2-40B4-BE49-F238E27FC236}">
                <a16:creationId xmlns:a16="http://schemas.microsoft.com/office/drawing/2014/main" id="{8BFFF668-47EB-4798-A797-8B64BCE187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 dirty="0"/>
          </a:p>
        </p:txBody>
      </p:sp>
      <p:sp>
        <p:nvSpPr>
          <p:cNvPr id="8" name="Datumsplatzhalter 9">
            <a:extLst>
              <a:ext uri="{FF2B5EF4-FFF2-40B4-BE49-F238E27FC236}">
                <a16:creationId xmlns:a16="http://schemas.microsoft.com/office/drawing/2014/main" id="{CE010009-B015-4E13-B3CB-6D62B476A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10">
            <a:extLst>
              <a:ext uri="{FF2B5EF4-FFF2-40B4-BE49-F238E27FC236}">
                <a16:creationId xmlns:a16="http://schemas.microsoft.com/office/drawing/2014/main" id="{D6359144-DB36-4965-AEA9-BCD572D847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96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5497" y="3104006"/>
            <a:ext cx="4354800" cy="1547008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5497" y="4805081"/>
            <a:ext cx="435480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4922ADEE-68C4-47F5-9D70-00C73215EFE0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65497" y="188288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1530174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3035" y="1607106"/>
            <a:ext cx="5443500" cy="1564736"/>
          </a:xfrm>
        </p:spPr>
        <p:txBody>
          <a:bodyPr lIns="0" anchor="b"/>
          <a:lstStyle>
            <a:lvl1pPr algn="l">
              <a:lnSpc>
                <a:spcPct val="90000"/>
              </a:lnSpc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3341926"/>
            <a:ext cx="5171325" cy="476233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27941A39-F637-41A7-A058-9319063D214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450012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1773631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34063" y="2899883"/>
            <a:ext cx="7076550" cy="1414526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1522075" cy="64801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134063" y="4464877"/>
            <a:ext cx="7076550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411DC7F0-EE7F-426E-9296-81485E710887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065497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541714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3035" y="2695760"/>
            <a:ext cx="7280681" cy="1478967"/>
          </a:xfrm>
        </p:spPr>
        <p:txBody>
          <a:bodyPr lIns="0" anchor="b"/>
          <a:lstStyle>
            <a:lvl1pPr algn="l"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9307EB07-10EC-4AF9-8B6D-67DBE91E28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2"/>
            <a:ext cx="11522075" cy="6480174"/>
          </a:xfrm>
          <a:custGeom>
            <a:avLst/>
            <a:gdLst>
              <a:gd name="connsiteX0" fmla="*/ 0 w 12192000"/>
              <a:gd name="connsiteY0" fmla="*/ 0 h 6857999"/>
              <a:gd name="connsiteX1" fmla="*/ 12192000 w 12192000"/>
              <a:gd name="connsiteY1" fmla="*/ 0 h 6857999"/>
              <a:gd name="connsiteX2" fmla="*/ 12192000 w 12192000"/>
              <a:gd name="connsiteY2" fmla="*/ 6857999 h 6857999"/>
              <a:gd name="connsiteX3" fmla="*/ 9129861 w 12192000"/>
              <a:gd name="connsiteY3" fmla="*/ 6857999 h 6857999"/>
              <a:gd name="connsiteX4" fmla="*/ 9129861 w 12192000"/>
              <a:gd name="connsiteY4" fmla="*/ 6525343 h 6857999"/>
              <a:gd name="connsiteX5" fmla="*/ 9132754 w 12192000"/>
              <a:gd name="connsiteY5" fmla="*/ 6525343 h 6857999"/>
              <a:gd name="connsiteX6" fmla="*/ 9132754 w 12192000"/>
              <a:gd name="connsiteY6" fmla="*/ 6451406 h 6857999"/>
              <a:gd name="connsiteX7" fmla="*/ 9132754 w 12192000"/>
              <a:gd name="connsiteY7" fmla="*/ 5050775 h 6857999"/>
              <a:gd name="connsiteX8" fmla="*/ 9132754 w 12192000"/>
              <a:gd name="connsiteY8" fmla="*/ 2711435 h 6857999"/>
              <a:gd name="connsiteX9" fmla="*/ 9133722 w 12192000"/>
              <a:gd name="connsiteY9" fmla="*/ 2711435 h 6857999"/>
              <a:gd name="connsiteX10" fmla="*/ 8523560 w 12192000"/>
              <a:gd name="connsiteY10" fmla="*/ 2109455 h 6857999"/>
              <a:gd name="connsiteX11" fmla="*/ 8416132 w 12192000"/>
              <a:gd name="connsiteY11" fmla="*/ 2109455 h 6857999"/>
              <a:gd name="connsiteX12" fmla="*/ 8397240 w 12192000"/>
              <a:gd name="connsiteY12" fmla="*/ 2107550 h 6857999"/>
              <a:gd name="connsiteX13" fmla="*/ 7579995 w 12192000"/>
              <a:gd name="connsiteY13" fmla="*/ 2107550 h 6857999"/>
              <a:gd name="connsiteX14" fmla="*/ 1969771 w 12192000"/>
              <a:gd name="connsiteY14" fmla="*/ 2107550 h 6857999"/>
              <a:gd name="connsiteX15" fmla="*/ 1859984 w 12192000"/>
              <a:gd name="connsiteY15" fmla="*/ 2088924 h 6857999"/>
              <a:gd name="connsiteX16" fmla="*/ 1387276 w 12192000"/>
              <a:gd name="connsiteY16" fmla="*/ 1478900 h 6857999"/>
              <a:gd name="connsiteX17" fmla="*/ 1387276 w 12192000"/>
              <a:gd name="connsiteY17" fmla="*/ 1116950 h 6857999"/>
              <a:gd name="connsiteX18" fmla="*/ 874035 w 12192000"/>
              <a:gd name="connsiteY18" fmla="*/ 496377 h 6857999"/>
              <a:gd name="connsiteX19" fmla="*/ 865733 w 12192000"/>
              <a:gd name="connsiteY19" fmla="*/ 495556 h 6857999"/>
              <a:gd name="connsiteX20" fmla="*/ 862233 w 12192000"/>
              <a:gd name="connsiteY20" fmla="*/ 494472 h 6857999"/>
              <a:gd name="connsiteX21" fmla="*/ 734378 w 12192000"/>
              <a:gd name="connsiteY21" fmla="*/ 481632 h 6857999"/>
              <a:gd name="connsiteX22" fmla="*/ 263352 w 12192000"/>
              <a:gd name="connsiteY22" fmla="*/ 481632 h 6857999"/>
              <a:gd name="connsiteX23" fmla="*/ 263352 w 12192000"/>
              <a:gd name="connsiteY23" fmla="*/ 483393 h 6857999"/>
              <a:gd name="connsiteX24" fmla="*/ 0 w 12192000"/>
              <a:gd name="connsiteY24" fmla="*/ 48339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192000" h="6857999"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9129861" y="6857999"/>
                </a:lnTo>
                <a:lnTo>
                  <a:pt x="9129861" y="6525343"/>
                </a:lnTo>
                <a:lnTo>
                  <a:pt x="9132754" y="6525343"/>
                </a:lnTo>
                <a:lnTo>
                  <a:pt x="9132754" y="6451406"/>
                </a:lnTo>
                <a:cubicBezTo>
                  <a:pt x="9132754" y="6014336"/>
                  <a:pt x="9132754" y="5279315"/>
                  <a:pt x="9132754" y="5050775"/>
                </a:cubicBezTo>
                <a:lnTo>
                  <a:pt x="9132754" y="2711435"/>
                </a:lnTo>
                <a:lnTo>
                  <a:pt x="9133722" y="2711435"/>
                </a:lnTo>
                <a:cubicBezTo>
                  <a:pt x="9134688" y="2379012"/>
                  <a:pt x="8861035" y="2109455"/>
                  <a:pt x="8523560" y="2109455"/>
                </a:cubicBezTo>
                <a:lnTo>
                  <a:pt x="8416132" y="2109455"/>
                </a:lnTo>
                <a:lnTo>
                  <a:pt x="8397240" y="2107550"/>
                </a:lnTo>
                <a:lnTo>
                  <a:pt x="7579995" y="2107550"/>
                </a:lnTo>
                <a:lnTo>
                  <a:pt x="1969771" y="2107550"/>
                </a:lnTo>
                <a:lnTo>
                  <a:pt x="1859984" y="2088924"/>
                </a:lnTo>
                <a:cubicBezTo>
                  <a:pt x="1587168" y="2015634"/>
                  <a:pt x="1387276" y="1770603"/>
                  <a:pt x="1387276" y="1478900"/>
                </a:cubicBezTo>
                <a:lnTo>
                  <a:pt x="1387276" y="1116950"/>
                </a:lnTo>
                <a:cubicBezTo>
                  <a:pt x="1387276" y="810245"/>
                  <a:pt x="1167395" y="555317"/>
                  <a:pt x="874035" y="496377"/>
                </a:cubicBezTo>
                <a:lnTo>
                  <a:pt x="865733" y="495556"/>
                </a:lnTo>
                <a:lnTo>
                  <a:pt x="862233" y="494472"/>
                </a:lnTo>
                <a:cubicBezTo>
                  <a:pt x="820952" y="486052"/>
                  <a:pt x="778193" y="481632"/>
                  <a:pt x="734378" y="481632"/>
                </a:cubicBezTo>
                <a:lnTo>
                  <a:pt x="263352" y="481632"/>
                </a:lnTo>
                <a:lnTo>
                  <a:pt x="263352" y="483393"/>
                </a:lnTo>
                <a:lnTo>
                  <a:pt x="0" y="4833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53035" y="4328795"/>
            <a:ext cx="7280681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7BA0EDE-E365-4B88-82E1-FD80DF264239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53081" y="5417396"/>
            <a:ext cx="514394" cy="6123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6402" tIns="43201" rIns="86402" bIns="43201" numCol="1" anchor="t" anchorCtr="0" compatLnSpc="1">
            <a:prstTxWarp prst="textNoShape">
              <a:avLst/>
            </a:prstTxWarp>
          </a:bodyPr>
          <a:lstStyle/>
          <a:p>
            <a:endParaRPr lang="en-US" sz="2173" dirty="0"/>
          </a:p>
        </p:txBody>
      </p:sp>
    </p:spTree>
    <p:extLst>
      <p:ext uri="{BB962C8B-B14F-4D97-AF65-F5344CB8AC3E}">
        <p14:creationId xmlns:p14="http://schemas.microsoft.com/office/powerpoint/2010/main" val="2377149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C99E870-5021-4065-9A28-480494C5D2F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" y="0"/>
            <a:ext cx="7719341" cy="6480175"/>
          </a:xfrm>
          <a:custGeom>
            <a:avLst/>
            <a:gdLst>
              <a:gd name="connsiteX0" fmla="*/ 0 w 8168165"/>
              <a:gd name="connsiteY0" fmla="*/ 0 h 6858000"/>
              <a:gd name="connsiteX1" fmla="*/ 8168165 w 8168165"/>
              <a:gd name="connsiteY1" fmla="*/ 0 h 6858000"/>
              <a:gd name="connsiteX2" fmla="*/ 8166894 w 8168165"/>
              <a:gd name="connsiteY2" fmla="*/ 468273 h 6858000"/>
              <a:gd name="connsiteX3" fmla="*/ 8165601 w 8168165"/>
              <a:gd name="connsiteY3" fmla="*/ 944495 h 6858000"/>
              <a:gd name="connsiteX4" fmla="*/ 7622354 w 8168165"/>
              <a:gd name="connsiteY4" fmla="*/ 1488440 h 6858000"/>
              <a:gd name="connsiteX5" fmla="*/ 4623367 w 8168165"/>
              <a:gd name="connsiteY5" fmla="*/ 1488440 h 6858000"/>
              <a:gd name="connsiteX6" fmla="*/ 4526678 w 8168165"/>
              <a:gd name="connsiteY6" fmla="*/ 1488440 h 6858000"/>
              <a:gd name="connsiteX7" fmla="*/ 3983432 w 8168165"/>
              <a:gd name="connsiteY7" fmla="*/ 2032385 h 6858000"/>
              <a:gd name="connsiteX8" fmla="*/ 3984357 w 8168165"/>
              <a:gd name="connsiteY8" fmla="*/ 2032385 h 6858000"/>
              <a:gd name="connsiteX9" fmla="*/ 3984357 w 8168165"/>
              <a:gd name="connsiteY9" fmla="*/ 4045072 h 6858000"/>
              <a:gd name="connsiteX10" fmla="*/ 3441109 w 8168165"/>
              <a:gd name="connsiteY10" fmla="*/ 4589017 h 6858000"/>
              <a:gd name="connsiteX11" fmla="*/ 3110235 w 8168165"/>
              <a:gd name="connsiteY11" fmla="*/ 4589017 h 6858000"/>
              <a:gd name="connsiteX12" fmla="*/ 3013546 w 8168165"/>
              <a:gd name="connsiteY12" fmla="*/ 4589017 h 6858000"/>
              <a:gd name="connsiteX13" fmla="*/ 2470298 w 8168165"/>
              <a:gd name="connsiteY13" fmla="*/ 5132963 h 6858000"/>
              <a:gd name="connsiteX14" fmla="*/ 2470298 w 8168165"/>
              <a:gd name="connsiteY14" fmla="*/ 6858000 h 6858000"/>
              <a:gd name="connsiteX15" fmla="*/ 0 w 8168165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68165" h="6858000">
                <a:moveTo>
                  <a:pt x="0" y="0"/>
                </a:moveTo>
                <a:lnTo>
                  <a:pt x="8168165" y="0"/>
                </a:lnTo>
                <a:lnTo>
                  <a:pt x="8166894" y="468273"/>
                </a:lnTo>
                <a:cubicBezTo>
                  <a:pt x="8166463" y="628601"/>
                  <a:pt x="8166032" y="788929"/>
                  <a:pt x="8165601" y="944495"/>
                </a:cubicBezTo>
                <a:cubicBezTo>
                  <a:pt x="8165601" y="1244731"/>
                  <a:pt x="7922204" y="1488440"/>
                  <a:pt x="7622354" y="1488440"/>
                </a:cubicBezTo>
                <a:lnTo>
                  <a:pt x="4623367" y="1488440"/>
                </a:lnTo>
                <a:lnTo>
                  <a:pt x="4526678" y="1488440"/>
                </a:lnTo>
                <a:cubicBezTo>
                  <a:pt x="4226828" y="1488440"/>
                  <a:pt x="3983432" y="1732150"/>
                  <a:pt x="3983432" y="2032385"/>
                </a:cubicBezTo>
                <a:lnTo>
                  <a:pt x="3984357" y="2032385"/>
                </a:lnTo>
                <a:lnTo>
                  <a:pt x="3984357" y="4045072"/>
                </a:lnTo>
                <a:cubicBezTo>
                  <a:pt x="3984357" y="4345308"/>
                  <a:pt x="3740960" y="4589017"/>
                  <a:pt x="3441109" y="4589017"/>
                </a:cubicBezTo>
                <a:lnTo>
                  <a:pt x="3110235" y="4589017"/>
                </a:lnTo>
                <a:lnTo>
                  <a:pt x="3013546" y="4589017"/>
                </a:lnTo>
                <a:cubicBezTo>
                  <a:pt x="2713695" y="4589017"/>
                  <a:pt x="2470298" y="4832727"/>
                  <a:pt x="2470298" y="5132963"/>
                </a:cubicBezTo>
                <a:lnTo>
                  <a:pt x="247029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00011" y="1879421"/>
            <a:ext cx="6668288" cy="2313133"/>
          </a:xfrm>
        </p:spPr>
        <p:txBody>
          <a:bodyPr anchor="b"/>
          <a:lstStyle>
            <a:lvl1pPr>
              <a:lnSpc>
                <a:spcPct val="90000"/>
              </a:lnSpc>
              <a:defRPr sz="510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to separate chapters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400011" y="4351123"/>
            <a:ext cx="6668288" cy="476233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701">
                <a:solidFill>
                  <a:schemeClr val="bg1"/>
                </a:solidFill>
              </a:defRPr>
            </a:lvl9pPr>
          </a:lstStyle>
          <a:p>
            <a:pPr marL="0" marR="0" lvl="4" indent="0" algn="l" defTabSz="8640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4070077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emf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7F69FE27-94B1-434B-B65A-7B0E4179E9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alphaModFix amt="9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20000"/>
                    </a14:imgEffect>
                    <a14:imgEffect>
                      <a14:brightnessContrast bright="-5000" contras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" r="14596" b="23363"/>
          <a:stretch/>
        </p:blipFill>
        <p:spPr>
          <a:xfrm>
            <a:off x="5177319" y="46383"/>
            <a:ext cx="6342174" cy="649356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91389117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kt 2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816" y="1362"/>
            <a:ext cx="1815" cy="1360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411478" y="240653"/>
            <a:ext cx="10698405" cy="503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1477" y="1388378"/>
            <a:ext cx="10698407" cy="4165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Picture 4" descr="Schematic&#10;&#10;Description automatically generated">
            <a:extLst>
              <a:ext uri="{FF2B5EF4-FFF2-40B4-BE49-F238E27FC236}">
                <a16:creationId xmlns:a16="http://schemas.microsoft.com/office/drawing/2014/main" id="{50373CC2-A269-455B-8B47-47CE50D1684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763076" y="5743376"/>
            <a:ext cx="756418" cy="820689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3C30636E-4EC6-475B-B2D8-37972152D8B3}"/>
              </a:ext>
            </a:extLst>
          </p:cNvPr>
          <p:cNvSpPr/>
          <p:nvPr userDrawn="1"/>
        </p:nvSpPr>
        <p:spPr>
          <a:xfrm>
            <a:off x="411477" y="5985001"/>
            <a:ext cx="272160" cy="324000"/>
          </a:xfrm>
          <a:custGeom>
            <a:avLst/>
            <a:gdLst>
              <a:gd name="connsiteX0" fmla="*/ 269702 w 1132749"/>
              <a:gd name="connsiteY0" fmla="*/ 890017 h 1348511"/>
              <a:gd name="connsiteX1" fmla="*/ 0 w 1132749"/>
              <a:gd name="connsiteY1" fmla="*/ 890017 h 1348511"/>
              <a:gd name="connsiteX2" fmla="*/ 0 w 1132749"/>
              <a:gd name="connsiteY2" fmla="*/ 620315 h 1348511"/>
              <a:gd name="connsiteX3" fmla="*/ 269702 w 1132749"/>
              <a:gd name="connsiteY3" fmla="*/ 620315 h 1348511"/>
              <a:gd name="connsiteX4" fmla="*/ 0 w 1132749"/>
              <a:gd name="connsiteY4" fmla="*/ 0 h 1348511"/>
              <a:gd name="connsiteX5" fmla="*/ 0 w 1132749"/>
              <a:gd name="connsiteY5" fmla="*/ 458494 h 1348511"/>
              <a:gd name="connsiteX6" fmla="*/ 80911 w 1132749"/>
              <a:gd name="connsiteY6" fmla="*/ 458494 h 1348511"/>
              <a:gd name="connsiteX7" fmla="*/ 80911 w 1132749"/>
              <a:gd name="connsiteY7" fmla="*/ 445009 h 1348511"/>
              <a:gd name="connsiteX8" fmla="*/ 431524 w 1132749"/>
              <a:gd name="connsiteY8" fmla="*/ 94396 h 1348511"/>
              <a:gd name="connsiteX9" fmla="*/ 445009 w 1132749"/>
              <a:gd name="connsiteY9" fmla="*/ 94396 h 1348511"/>
              <a:gd name="connsiteX10" fmla="*/ 445009 w 1132749"/>
              <a:gd name="connsiteY10" fmla="*/ 1065324 h 1348511"/>
              <a:gd name="connsiteX11" fmla="*/ 256217 w 1132749"/>
              <a:gd name="connsiteY11" fmla="*/ 1254115 h 1348511"/>
              <a:gd name="connsiteX12" fmla="*/ 215762 w 1132749"/>
              <a:gd name="connsiteY12" fmla="*/ 1254115 h 1348511"/>
              <a:gd name="connsiteX13" fmla="*/ 215762 w 1132749"/>
              <a:gd name="connsiteY13" fmla="*/ 1348511 h 1348511"/>
              <a:gd name="connsiteX14" fmla="*/ 916988 w 1132749"/>
              <a:gd name="connsiteY14" fmla="*/ 1348511 h 1348511"/>
              <a:gd name="connsiteX15" fmla="*/ 916988 w 1132749"/>
              <a:gd name="connsiteY15" fmla="*/ 1254115 h 1348511"/>
              <a:gd name="connsiteX16" fmla="*/ 876532 w 1132749"/>
              <a:gd name="connsiteY16" fmla="*/ 1254115 h 1348511"/>
              <a:gd name="connsiteX17" fmla="*/ 687741 w 1132749"/>
              <a:gd name="connsiteY17" fmla="*/ 1065324 h 1348511"/>
              <a:gd name="connsiteX18" fmla="*/ 687741 w 1132749"/>
              <a:gd name="connsiteY18" fmla="*/ 94396 h 1348511"/>
              <a:gd name="connsiteX19" fmla="*/ 701226 w 1132749"/>
              <a:gd name="connsiteY19" fmla="*/ 94396 h 1348511"/>
              <a:gd name="connsiteX20" fmla="*/ 1051839 w 1132749"/>
              <a:gd name="connsiteY20" fmla="*/ 445009 h 1348511"/>
              <a:gd name="connsiteX21" fmla="*/ 1051839 w 1132749"/>
              <a:gd name="connsiteY21" fmla="*/ 458494 h 1348511"/>
              <a:gd name="connsiteX22" fmla="*/ 1132749 w 1132749"/>
              <a:gd name="connsiteY22" fmla="*/ 458494 h 1348511"/>
              <a:gd name="connsiteX23" fmla="*/ 1132749 w 1132749"/>
              <a:gd name="connsiteY23" fmla="*/ 0 h 1348511"/>
              <a:gd name="connsiteX24" fmla="*/ 863047 w 1132749"/>
              <a:gd name="connsiteY24" fmla="*/ 890017 h 1348511"/>
              <a:gd name="connsiteX25" fmla="*/ 1132749 w 1132749"/>
              <a:gd name="connsiteY25" fmla="*/ 890017 h 1348511"/>
              <a:gd name="connsiteX26" fmla="*/ 1132749 w 1132749"/>
              <a:gd name="connsiteY26" fmla="*/ 620315 h 1348511"/>
              <a:gd name="connsiteX27" fmla="*/ 863047 w 1132749"/>
              <a:gd name="connsiteY27" fmla="*/ 620315 h 1348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32749" h="1348511">
                <a:moveTo>
                  <a:pt x="269702" y="890017"/>
                </a:moveTo>
                <a:lnTo>
                  <a:pt x="0" y="890017"/>
                </a:lnTo>
                <a:lnTo>
                  <a:pt x="0" y="620315"/>
                </a:lnTo>
                <a:lnTo>
                  <a:pt x="269702" y="620315"/>
                </a:lnTo>
                <a:close/>
                <a:moveTo>
                  <a:pt x="0" y="0"/>
                </a:moveTo>
                <a:lnTo>
                  <a:pt x="0" y="458494"/>
                </a:lnTo>
                <a:lnTo>
                  <a:pt x="80911" y="458494"/>
                </a:lnTo>
                <a:lnTo>
                  <a:pt x="80911" y="445009"/>
                </a:lnTo>
                <a:cubicBezTo>
                  <a:pt x="80911" y="229247"/>
                  <a:pt x="202277" y="94396"/>
                  <a:pt x="431524" y="94396"/>
                </a:cubicBezTo>
                <a:lnTo>
                  <a:pt x="445009" y="94396"/>
                </a:lnTo>
                <a:lnTo>
                  <a:pt x="445009" y="1065324"/>
                </a:lnTo>
                <a:cubicBezTo>
                  <a:pt x="445009" y="1200175"/>
                  <a:pt x="391068" y="1254115"/>
                  <a:pt x="256217" y="1254115"/>
                </a:cubicBezTo>
                <a:lnTo>
                  <a:pt x="215762" y="1254115"/>
                </a:lnTo>
                <a:lnTo>
                  <a:pt x="215762" y="1348511"/>
                </a:lnTo>
                <a:lnTo>
                  <a:pt x="916988" y="1348511"/>
                </a:lnTo>
                <a:lnTo>
                  <a:pt x="916988" y="1254115"/>
                </a:lnTo>
                <a:lnTo>
                  <a:pt x="876532" y="1254115"/>
                </a:lnTo>
                <a:cubicBezTo>
                  <a:pt x="741681" y="1254115"/>
                  <a:pt x="687741" y="1200175"/>
                  <a:pt x="687741" y="1065324"/>
                </a:cubicBezTo>
                <a:lnTo>
                  <a:pt x="687741" y="94396"/>
                </a:lnTo>
                <a:lnTo>
                  <a:pt x="701226" y="94396"/>
                </a:lnTo>
                <a:cubicBezTo>
                  <a:pt x="930473" y="94396"/>
                  <a:pt x="1051839" y="229247"/>
                  <a:pt x="1051839" y="445009"/>
                </a:cubicBezTo>
                <a:lnTo>
                  <a:pt x="1051839" y="458494"/>
                </a:lnTo>
                <a:lnTo>
                  <a:pt x="1132749" y="458494"/>
                </a:lnTo>
                <a:lnTo>
                  <a:pt x="1132749" y="0"/>
                </a:lnTo>
                <a:close/>
                <a:moveTo>
                  <a:pt x="863047" y="890017"/>
                </a:moveTo>
                <a:lnTo>
                  <a:pt x="1132749" y="890017"/>
                </a:lnTo>
                <a:lnTo>
                  <a:pt x="1132749" y="620315"/>
                </a:lnTo>
                <a:lnTo>
                  <a:pt x="863047" y="620315"/>
                </a:lnTo>
                <a:close/>
              </a:path>
            </a:pathLst>
          </a:custGeom>
          <a:solidFill>
            <a:srgbClr val="FFFFFF"/>
          </a:solidFill>
          <a:ln w="13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40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5" r:id="rId2"/>
    <p:sldLayoutId id="2147484674" r:id="rId3"/>
    <p:sldLayoutId id="2147484680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391936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4000" kern="1200" dirty="0">
          <a:solidFill>
            <a:schemeClr val="tx2"/>
          </a:solidFill>
          <a:latin typeface="+mj-lt"/>
          <a:ea typeface="+mj-ea"/>
          <a:cs typeface="TeleGrotesk Headline Ultra" pitchFamily="2" charset="0"/>
        </a:defRPr>
      </a:lvl1pPr>
      <a:lvl2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2pPr>
      <a:lvl3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3pPr>
      <a:lvl4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4pPr>
      <a:lvl5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5pPr>
      <a:lvl6pPr marL="391807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6pPr>
      <a:lvl7pPr marL="783613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7pPr>
      <a:lvl8pPr marL="1175420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8pPr>
      <a:lvl9pPr marL="1567225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9pPr>
    </p:titleStyle>
    <p:bodyStyle>
      <a:lvl1pPr algn="l" defTabSz="493840" rtl="0" eaLnBrk="1" fontAlgn="base" hangingPunct="1">
        <a:lnSpc>
          <a:spcPct val="104000"/>
        </a:lnSpc>
        <a:spcBef>
          <a:spcPts val="102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1361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85117" indent="-185117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370234" indent="-185020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555352" indent="-185117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154936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546741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2938547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330355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1pPr>
      <a:lvl2pPr marL="391807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2pPr>
      <a:lvl3pPr marL="78361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3pPr>
      <a:lvl4pPr marL="117542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4pPr>
      <a:lvl5pPr marL="156722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5pPr>
      <a:lvl6pPr marL="195903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6pPr>
      <a:lvl7pPr marL="2350839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7pPr>
      <a:lvl8pPr marL="274264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8pPr>
      <a:lvl9pPr marL="3134451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3220">
          <p15:clr>
            <a:srgbClr val="F26B43"/>
          </p15:clr>
        </p15:guide>
        <p15:guide id="3" orient="horz" pos="1021">
          <p15:clr>
            <a:srgbClr val="F26B43"/>
          </p15:clr>
        </p15:guide>
        <p15:guide id="5" orient="horz" pos="4082">
          <p15:clr>
            <a:srgbClr val="F26B43"/>
          </p15:clr>
        </p15:guide>
        <p15:guide id="6" pos="227">
          <p15:clr>
            <a:srgbClr val="F26B43"/>
          </p15:clr>
        </p15:guide>
        <p15:guide id="7" pos="6123">
          <p15:clr>
            <a:srgbClr val="F26B43"/>
          </p15:clr>
        </p15:guide>
        <p15:guide id="8" orient="horz" pos="3856">
          <p15:clr>
            <a:srgbClr val="F26B43"/>
          </p15:clr>
        </p15:guide>
        <p15:guide id="10" orient="horz" pos="749">
          <p15:clr>
            <a:srgbClr val="F26B43"/>
          </p15:clr>
        </p15:guide>
        <p15:guide id="11" orient="horz" pos="227">
          <p15:clr>
            <a:srgbClr val="F26B43"/>
          </p15:clr>
        </p15:guide>
        <p15:guide id="12" pos="1724">
          <p15:clr>
            <a:srgbClr val="F26B43"/>
          </p15:clr>
        </p15:guide>
        <p15:guide id="13" pos="1633">
          <p15:clr>
            <a:srgbClr val="F26B43"/>
          </p15:clr>
        </p15:guide>
        <p15:guide id="14" pos="3175">
          <p15:clr>
            <a:srgbClr val="F26B43"/>
          </p15:clr>
        </p15:guide>
        <p15:guide id="15" pos="3130">
          <p15:clr>
            <a:srgbClr val="F26B43"/>
          </p15:clr>
        </p15:guide>
        <p15:guide id="16" pos="4717">
          <p15:clr>
            <a:srgbClr val="F26B43"/>
          </p15:clr>
        </p15:guide>
        <p15:guide id="17" pos="4627">
          <p15:clr>
            <a:srgbClr val="F26B43"/>
          </p15:clr>
        </p15:guide>
        <p15:guide id="18" orient="horz" pos="4309">
          <p15:clr>
            <a:srgbClr val="F26B43"/>
          </p15:clr>
        </p15:guide>
        <p15:guide id="19" orient="horz" pos="453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3036" y="382688"/>
            <a:ext cx="10616004" cy="680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3036" y="1402915"/>
            <a:ext cx="10616004" cy="4626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3035" y="6102094"/>
            <a:ext cx="7893075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50" kern="9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830887" y="6102094"/>
            <a:ext cx="238153" cy="3061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5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399378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1351882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42408" y="5978731"/>
            <a:ext cx="0" cy="10206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62495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89712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462351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734526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787549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59724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902882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75057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47018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619193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3035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069040" y="-161579"/>
            <a:ext cx="0" cy="10205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507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4" r:id="rId1"/>
    <p:sldLayoutId id="2147484695" r:id="rId2"/>
    <p:sldLayoutId id="2147484696" r:id="rId3"/>
    <p:sldLayoutId id="2147484697" r:id="rId4"/>
    <p:sldLayoutId id="2147484698" r:id="rId5"/>
    <p:sldLayoutId id="2147484699" r:id="rId6"/>
    <p:sldLayoutId id="2147484700" r:id="rId7"/>
    <p:sldLayoutId id="2147484701" r:id="rId8"/>
    <p:sldLayoutId id="2147484702" r:id="rId9"/>
    <p:sldLayoutId id="2147484703" r:id="rId10"/>
    <p:sldLayoutId id="2147484704" r:id="rId11"/>
    <p:sldLayoutId id="2147484705" r:id="rId12"/>
    <p:sldLayoutId id="2147484706" r:id="rId13"/>
    <p:sldLayoutId id="2147484707" r:id="rId14"/>
    <p:sldLayoutId id="2147484708" r:id="rId15"/>
    <p:sldLayoutId id="2147484709" r:id="rId16"/>
    <p:sldLayoutId id="2147484710" r:id="rId17"/>
    <p:sldLayoutId id="2147484711" r:id="rId18"/>
    <p:sldLayoutId id="2147484712" r:id="rId19"/>
    <p:sldLayoutId id="2147484713" r:id="rId20"/>
    <p:sldLayoutId id="2147484714" r:id="rId21"/>
  </p:sldLayoutIdLst>
  <p:hf hd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378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850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136066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272131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408197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544262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680328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816394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952459" indent="-136066" algn="l" defTabSz="864017" rtl="0" eaLnBrk="1" latinLnBrk="0" hangingPunct="1">
        <a:lnSpc>
          <a:spcPct val="100000"/>
        </a:lnSpc>
        <a:spcBef>
          <a:spcPts val="0"/>
        </a:spcBef>
        <a:spcAft>
          <a:spcPts val="567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ature.com/articles/s41598-022-15245-z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paperswithcode.com/method/shap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1704.02685" TargetMode="External"/><Relationship Id="rId2" Type="http://schemas.openxmlformats.org/officeDocument/2006/relationships/hyperlink" Target="https://arxiv.org/abs/1602.04938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FE4B25-E736-48B1-B659-95074273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0695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FE4B25-E736-48B1-B659-95074273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40B3E22F-95A9-44A4-BF46-340FEB81B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88517" y="648148"/>
            <a:ext cx="5460323" cy="775597"/>
          </a:xfrm>
          <a:noFill/>
        </p:spPr>
        <p:txBody>
          <a:bodyPr vert="horz"/>
          <a:lstStyle/>
          <a:p>
            <a:pPr algn="ctr"/>
            <a:r>
              <a:rPr lang="en-US" sz="3600" dirty="0"/>
              <a:t>Explainer Dashboard Demo</a:t>
            </a:r>
            <a:br>
              <a:rPr lang="en-US" sz="3600" dirty="0"/>
            </a:br>
            <a:r>
              <a:rPr lang="cs-CZ" sz="1800" i="1" dirty="0">
                <a:latin typeface="+mn-lt"/>
              </a:rPr>
              <a:t>Štěpán Vondráček</a:t>
            </a:r>
            <a:endParaRPr lang="en-US" sz="3600" i="1" dirty="0">
              <a:latin typeface="+mn-lt"/>
            </a:endParaRPr>
          </a:p>
        </p:txBody>
      </p:sp>
      <p:sp>
        <p:nvSpPr>
          <p:cNvPr id="10" name="Titel 7">
            <a:extLst>
              <a:ext uri="{FF2B5EF4-FFF2-40B4-BE49-F238E27FC236}">
                <a16:creationId xmlns:a16="http://schemas.microsoft.com/office/drawing/2014/main" id="{87D60975-3CE0-44F2-952F-C962F1CE1F6E}"/>
              </a:ext>
            </a:extLst>
          </p:cNvPr>
          <p:cNvSpPr txBox="1">
            <a:spLocks/>
          </p:cNvSpPr>
          <p:nvPr/>
        </p:nvSpPr>
        <p:spPr bwMode="black">
          <a:xfrm>
            <a:off x="3690665" y="1580423"/>
            <a:ext cx="2856025" cy="2492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391936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5142" kern="1200" baseline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5pPr>
            <a:lvl6pPr marL="391807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6pPr>
            <a:lvl7pPr marL="783613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7pPr>
            <a:lvl8pPr marL="1175420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8pPr>
            <a:lvl9pPr marL="1567225" algn="l" defTabSz="49384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71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defTabSz="391857"/>
            <a:r>
              <a:rPr lang="de-DE" sz="1800" dirty="0">
                <a:solidFill>
                  <a:srgbClr val="FFFFFF"/>
                </a:solidFill>
              </a:rPr>
              <a:t>AIS Knowledge Exchange</a:t>
            </a:r>
            <a:endParaRPr lang="de-DE" sz="4000" dirty="0">
              <a:solidFill>
                <a:srgbClr val="FFFFFF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8ED1E97-E3BE-4115-8145-1C18F0067AAD}"/>
              </a:ext>
            </a:extLst>
          </p:cNvPr>
          <p:cNvGrpSpPr/>
          <p:nvPr/>
        </p:nvGrpSpPr>
        <p:grpSpPr>
          <a:xfrm>
            <a:off x="7558575" y="1125649"/>
            <a:ext cx="3225052" cy="3547693"/>
            <a:chOff x="6810610" y="1385479"/>
            <a:chExt cx="3225546" cy="354823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B218F16-5822-4BE0-A8EC-6A24DF8D78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14596" b="23363"/>
            <a:stretch/>
          </p:blipFill>
          <p:spPr>
            <a:xfrm>
              <a:off x="6810610" y="1385479"/>
              <a:ext cx="3225546" cy="3297839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980E62F8-6CA7-4B44-B890-C6442BBD83AA}"/>
                </a:ext>
              </a:extLst>
            </p:cNvPr>
            <p:cNvSpPr txBox="1"/>
            <p:nvPr/>
          </p:nvSpPr>
          <p:spPr bwMode="gray">
            <a:xfrm>
              <a:off x="7362907" y="4683318"/>
              <a:ext cx="2520564" cy="25039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89" tIns="35994" rIns="71989" bIns="3599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151912"/>
              <a:r>
                <a:rPr lang="de-DE" sz="1800" spc="300">
                  <a:solidFill>
                    <a:srgbClr val="E20074"/>
                  </a:solidFill>
                  <a:latin typeface="TeleGrotesk Headline Ultra"/>
                </a:rPr>
                <a:t>SHARED SERVICES</a:t>
              </a:r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012B0C3E-C944-4DCC-BB2F-D006E04E61C4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49E9D5-66C9-4854-8BD2-CE8AA07401B6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5573E1-7148-405F-8ED7-AE328D1B62C8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78555704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9ABEE5-EC4B-44DA-8087-AB22624253D1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0</a:t>
            </a:r>
            <a:endParaRPr lang="en-US" sz="1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213243C7-565D-496C-9E1C-8C1603EEF37E}"/>
              </a:ext>
            </a:extLst>
          </p:cNvPr>
          <p:cNvSpPr/>
          <p:nvPr/>
        </p:nvSpPr>
        <p:spPr>
          <a:xfrm>
            <a:off x="340467" y="5678621"/>
            <a:ext cx="420272" cy="500324"/>
          </a:xfrm>
          <a:custGeom>
            <a:avLst/>
            <a:gdLst>
              <a:gd name="connsiteX0" fmla="*/ 269702 w 1132749"/>
              <a:gd name="connsiteY0" fmla="*/ 890017 h 1348511"/>
              <a:gd name="connsiteX1" fmla="*/ 0 w 1132749"/>
              <a:gd name="connsiteY1" fmla="*/ 890017 h 1348511"/>
              <a:gd name="connsiteX2" fmla="*/ 0 w 1132749"/>
              <a:gd name="connsiteY2" fmla="*/ 620315 h 1348511"/>
              <a:gd name="connsiteX3" fmla="*/ 269702 w 1132749"/>
              <a:gd name="connsiteY3" fmla="*/ 620315 h 1348511"/>
              <a:gd name="connsiteX4" fmla="*/ 0 w 1132749"/>
              <a:gd name="connsiteY4" fmla="*/ 0 h 1348511"/>
              <a:gd name="connsiteX5" fmla="*/ 0 w 1132749"/>
              <a:gd name="connsiteY5" fmla="*/ 458494 h 1348511"/>
              <a:gd name="connsiteX6" fmla="*/ 80911 w 1132749"/>
              <a:gd name="connsiteY6" fmla="*/ 458494 h 1348511"/>
              <a:gd name="connsiteX7" fmla="*/ 80911 w 1132749"/>
              <a:gd name="connsiteY7" fmla="*/ 445009 h 1348511"/>
              <a:gd name="connsiteX8" fmla="*/ 431524 w 1132749"/>
              <a:gd name="connsiteY8" fmla="*/ 94396 h 1348511"/>
              <a:gd name="connsiteX9" fmla="*/ 445009 w 1132749"/>
              <a:gd name="connsiteY9" fmla="*/ 94396 h 1348511"/>
              <a:gd name="connsiteX10" fmla="*/ 445009 w 1132749"/>
              <a:gd name="connsiteY10" fmla="*/ 1065324 h 1348511"/>
              <a:gd name="connsiteX11" fmla="*/ 256217 w 1132749"/>
              <a:gd name="connsiteY11" fmla="*/ 1254115 h 1348511"/>
              <a:gd name="connsiteX12" fmla="*/ 215762 w 1132749"/>
              <a:gd name="connsiteY12" fmla="*/ 1254115 h 1348511"/>
              <a:gd name="connsiteX13" fmla="*/ 215762 w 1132749"/>
              <a:gd name="connsiteY13" fmla="*/ 1348511 h 1348511"/>
              <a:gd name="connsiteX14" fmla="*/ 916988 w 1132749"/>
              <a:gd name="connsiteY14" fmla="*/ 1348511 h 1348511"/>
              <a:gd name="connsiteX15" fmla="*/ 916988 w 1132749"/>
              <a:gd name="connsiteY15" fmla="*/ 1254115 h 1348511"/>
              <a:gd name="connsiteX16" fmla="*/ 876532 w 1132749"/>
              <a:gd name="connsiteY16" fmla="*/ 1254115 h 1348511"/>
              <a:gd name="connsiteX17" fmla="*/ 687741 w 1132749"/>
              <a:gd name="connsiteY17" fmla="*/ 1065324 h 1348511"/>
              <a:gd name="connsiteX18" fmla="*/ 687741 w 1132749"/>
              <a:gd name="connsiteY18" fmla="*/ 94396 h 1348511"/>
              <a:gd name="connsiteX19" fmla="*/ 701226 w 1132749"/>
              <a:gd name="connsiteY19" fmla="*/ 94396 h 1348511"/>
              <a:gd name="connsiteX20" fmla="*/ 1051839 w 1132749"/>
              <a:gd name="connsiteY20" fmla="*/ 445009 h 1348511"/>
              <a:gd name="connsiteX21" fmla="*/ 1051839 w 1132749"/>
              <a:gd name="connsiteY21" fmla="*/ 458494 h 1348511"/>
              <a:gd name="connsiteX22" fmla="*/ 1132749 w 1132749"/>
              <a:gd name="connsiteY22" fmla="*/ 458494 h 1348511"/>
              <a:gd name="connsiteX23" fmla="*/ 1132749 w 1132749"/>
              <a:gd name="connsiteY23" fmla="*/ 0 h 1348511"/>
              <a:gd name="connsiteX24" fmla="*/ 863047 w 1132749"/>
              <a:gd name="connsiteY24" fmla="*/ 890017 h 1348511"/>
              <a:gd name="connsiteX25" fmla="*/ 1132749 w 1132749"/>
              <a:gd name="connsiteY25" fmla="*/ 890017 h 1348511"/>
              <a:gd name="connsiteX26" fmla="*/ 1132749 w 1132749"/>
              <a:gd name="connsiteY26" fmla="*/ 620315 h 1348511"/>
              <a:gd name="connsiteX27" fmla="*/ 863047 w 1132749"/>
              <a:gd name="connsiteY27" fmla="*/ 620315 h 1348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32749" h="1348511">
                <a:moveTo>
                  <a:pt x="269702" y="890017"/>
                </a:moveTo>
                <a:lnTo>
                  <a:pt x="0" y="890017"/>
                </a:lnTo>
                <a:lnTo>
                  <a:pt x="0" y="620315"/>
                </a:lnTo>
                <a:lnTo>
                  <a:pt x="269702" y="620315"/>
                </a:lnTo>
                <a:close/>
                <a:moveTo>
                  <a:pt x="0" y="0"/>
                </a:moveTo>
                <a:lnTo>
                  <a:pt x="0" y="458494"/>
                </a:lnTo>
                <a:lnTo>
                  <a:pt x="80911" y="458494"/>
                </a:lnTo>
                <a:lnTo>
                  <a:pt x="80911" y="445009"/>
                </a:lnTo>
                <a:cubicBezTo>
                  <a:pt x="80911" y="229247"/>
                  <a:pt x="202277" y="94396"/>
                  <a:pt x="431524" y="94396"/>
                </a:cubicBezTo>
                <a:lnTo>
                  <a:pt x="445009" y="94396"/>
                </a:lnTo>
                <a:lnTo>
                  <a:pt x="445009" y="1065324"/>
                </a:lnTo>
                <a:cubicBezTo>
                  <a:pt x="445009" y="1200175"/>
                  <a:pt x="391068" y="1254115"/>
                  <a:pt x="256217" y="1254115"/>
                </a:cubicBezTo>
                <a:lnTo>
                  <a:pt x="215762" y="1254115"/>
                </a:lnTo>
                <a:lnTo>
                  <a:pt x="215762" y="1348511"/>
                </a:lnTo>
                <a:lnTo>
                  <a:pt x="916988" y="1348511"/>
                </a:lnTo>
                <a:lnTo>
                  <a:pt x="916988" y="1254115"/>
                </a:lnTo>
                <a:lnTo>
                  <a:pt x="876532" y="1254115"/>
                </a:lnTo>
                <a:cubicBezTo>
                  <a:pt x="741681" y="1254115"/>
                  <a:pt x="687741" y="1200175"/>
                  <a:pt x="687741" y="1065324"/>
                </a:cubicBezTo>
                <a:lnTo>
                  <a:pt x="687741" y="94396"/>
                </a:lnTo>
                <a:lnTo>
                  <a:pt x="701226" y="94396"/>
                </a:lnTo>
                <a:cubicBezTo>
                  <a:pt x="930473" y="94396"/>
                  <a:pt x="1051839" y="229247"/>
                  <a:pt x="1051839" y="445009"/>
                </a:cubicBezTo>
                <a:lnTo>
                  <a:pt x="1051839" y="458494"/>
                </a:lnTo>
                <a:lnTo>
                  <a:pt x="1132749" y="458494"/>
                </a:lnTo>
                <a:lnTo>
                  <a:pt x="1132749" y="0"/>
                </a:lnTo>
                <a:close/>
                <a:moveTo>
                  <a:pt x="863047" y="890017"/>
                </a:moveTo>
                <a:lnTo>
                  <a:pt x="1132749" y="890017"/>
                </a:lnTo>
                <a:lnTo>
                  <a:pt x="1132749" y="620315"/>
                </a:lnTo>
                <a:lnTo>
                  <a:pt x="863047" y="620315"/>
                </a:lnTo>
                <a:close/>
              </a:path>
            </a:pathLst>
          </a:custGeom>
          <a:solidFill>
            <a:srgbClr val="FFFFFF"/>
          </a:solidFill>
          <a:ln w="13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65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DB621F-6E42-4FA3-1688-294C95267C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91% of AI models degrade in production (</a:t>
            </a:r>
            <a:r>
              <a:rPr lang="en-GB" dirty="0">
                <a:hlinkClick r:id="rId2"/>
              </a:rPr>
              <a:t>Nature</a:t>
            </a:r>
            <a:r>
              <a:rPr lang="en-GB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dirty="0"/>
              <a:t>Legislative requirements: bank institutions are required to use explainable models to prevent bias (e.g. against minorities)</a:t>
            </a:r>
          </a:p>
          <a:p>
            <a:pPr marL="285750" indent="-285750">
              <a:buFontTx/>
              <a:buChar char="-"/>
            </a:pPr>
            <a:r>
              <a:rPr lang="en-GB" dirty="0"/>
              <a:t>Model Diagnostics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73203-399F-68EF-4852-321DD7FA0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Explainable AI?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2539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448F61-D78C-421D-8277-7D2014B0B6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1" dirty="0"/>
              <a:t>Multiple linear regressio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nly average effect (no local effec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oblem of differently scaled covariates (dummy vars?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sumption of monotonous effect, linear relationsh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dding interactions can be computationally costly</a:t>
            </a:r>
          </a:p>
          <a:p>
            <a:endParaRPr lang="en-GB" dirty="0"/>
          </a:p>
          <a:p>
            <a:r>
              <a:rPr lang="en-GB" sz="2000" b="1" dirty="0"/>
              <a:t> How about complex models?</a:t>
            </a:r>
            <a:endParaRPr lang="cs-CZ" sz="20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D2EC0C-A04C-4666-ACDD-3CA63BF7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se of </a:t>
            </a:r>
            <a:r>
              <a:rPr lang="en-GB" dirty="0" err="1"/>
              <a:t>Explainability</a:t>
            </a:r>
            <a:endParaRPr lang="cs-CZ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BCEAAE-C5EF-4DDE-A747-00132E9612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2450" y="1264981"/>
            <a:ext cx="3694616" cy="22059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1DED86-B345-45CD-B329-F7D306F18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2450" y="3740844"/>
            <a:ext cx="3694616" cy="220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559D96-ADD6-4FFB-99B3-B17BB6ED7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434" y="1574357"/>
            <a:ext cx="10698407" cy="4165131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“</a:t>
            </a:r>
            <a:r>
              <a:rPr lang="en-GB" dirty="0" err="1"/>
              <a:t>SHapley</a:t>
            </a:r>
            <a:r>
              <a:rPr lang="en-GB" dirty="0"/>
              <a:t> Additive </a:t>
            </a:r>
            <a:r>
              <a:rPr lang="en-GB" dirty="0" err="1"/>
              <a:t>exPlanations</a:t>
            </a:r>
            <a:r>
              <a:rPr lang="en-GB" dirty="0"/>
              <a:t>”</a:t>
            </a:r>
          </a:p>
          <a:p>
            <a:pPr marL="285750" indent="-285750">
              <a:buFontTx/>
              <a:buChar char="-"/>
            </a:pPr>
            <a:r>
              <a:rPr lang="en-GB" dirty="0"/>
              <a:t>Generally used approach towards </a:t>
            </a:r>
            <a:r>
              <a:rPr lang="en-GB" dirty="0" err="1"/>
              <a:t>explainability</a:t>
            </a:r>
            <a:r>
              <a:rPr lang="en-GB" dirty="0"/>
              <a:t> (even of supposedly “black box” models)</a:t>
            </a:r>
          </a:p>
          <a:p>
            <a:pPr marL="285750" indent="-285750">
              <a:buFontTx/>
              <a:buChar char="-"/>
            </a:pPr>
            <a:r>
              <a:rPr lang="en-GB" dirty="0"/>
              <a:t>Concept introduced by Lloyd Shapley in his work on Game Theory</a:t>
            </a:r>
          </a:p>
          <a:p>
            <a:pPr marL="285750" indent="-285750">
              <a:buFontTx/>
              <a:buChar char="-"/>
            </a:pPr>
            <a:r>
              <a:rPr lang="en-GB" dirty="0"/>
              <a:t>“How much does a particular member of coalition contribute to the outcome?”</a:t>
            </a:r>
          </a:p>
          <a:p>
            <a:pPr marL="285750" indent="-285750">
              <a:buFontTx/>
              <a:buChar char="-"/>
            </a:pPr>
            <a:r>
              <a:rPr lang="en-GB" dirty="0">
                <a:hlinkClick r:id="rId2"/>
              </a:rPr>
              <a:t>Lundberg et al. 2017</a:t>
            </a:r>
            <a:r>
              <a:rPr lang="en-GB" dirty="0"/>
              <a:t> → SHAP 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endParaRPr lang="cs-C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94F5FB-A1A8-451F-B059-A4BA17BB3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 values </a:t>
            </a:r>
            <a:endParaRPr lang="cs-CZ" dirty="0"/>
          </a:p>
        </p:txBody>
      </p:sp>
      <p:sp>
        <p:nvSpPr>
          <p:cNvPr id="7" name="AutoShape 2" descr="Lloyd Shapley">
            <a:extLst>
              <a:ext uri="{FF2B5EF4-FFF2-40B4-BE49-F238E27FC236}">
                <a16:creationId xmlns:a16="http://schemas.microsoft.com/office/drawing/2014/main" id="{DE2F2162-78B6-4228-80C7-594AEE66F96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08638" y="30876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F7D6DD-A227-58D7-2189-DB8E48146E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2993" y="3392488"/>
            <a:ext cx="3725293" cy="217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0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58672852-D80F-A7D0-2DCB-11E810A7AA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64629" y="4203576"/>
            <a:ext cx="3482303" cy="100918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A2A4860-EDC4-DFC0-C549-525D25F33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ley values – original concept</a:t>
            </a:r>
            <a:br>
              <a:rPr lang="en-GB" dirty="0"/>
            </a:br>
            <a:br>
              <a:rPr lang="en-GB" dirty="0"/>
            </a:br>
            <a:r>
              <a:rPr lang="en-GB" sz="2400" dirty="0">
                <a:solidFill>
                  <a:srgbClr val="F2F2F2"/>
                </a:solidFill>
                <a:latin typeface="+mn-lt"/>
              </a:rPr>
              <a:t>Suppose you want to evaluate, how much did 4 workers contribute to the outcome to   fairly distribute their compensation: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cs-C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AF4C98-9EE1-D5E7-62F8-0DAD5EE68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78" y="2085801"/>
            <a:ext cx="3548987" cy="17864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7F4463-0F20-68E3-B9D5-54F919A564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4629" y="2085801"/>
            <a:ext cx="3482303" cy="17864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9AA4F1-05C5-6E2E-94A7-5FBFB6476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1096" y="2085801"/>
            <a:ext cx="3120780" cy="17864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E500856-CE36-BB49-6BAB-13DC8D26D2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4629" y="5278023"/>
            <a:ext cx="3494692" cy="961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6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5049CB-CAE7-A8DB-8CA2-EAB587DB8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GB" dirty="0" err="1"/>
              <a:t>KernelExplainer</a:t>
            </a:r>
            <a:r>
              <a:rPr lang="en-GB" dirty="0"/>
              <a:t>: all models, actually a SHAP’s own specification of another algorithm - </a:t>
            </a:r>
            <a:r>
              <a:rPr lang="en-GB" dirty="0">
                <a:hlinkClick r:id="rId2"/>
              </a:rPr>
              <a:t>LIME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err="1"/>
              <a:t>TreeExplainer</a:t>
            </a:r>
            <a:r>
              <a:rPr lang="en-GB" dirty="0"/>
              <a:t>: tree-based methods; uses averaging over missing features of all models trained in the process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DeepExplainer</a:t>
            </a:r>
            <a:r>
              <a:rPr lang="en-GB" dirty="0"/>
              <a:t>: deep-learning; back-propagation of SHAP values analytically calculated for many NN components using </a:t>
            </a:r>
            <a:r>
              <a:rPr lang="en-GB" dirty="0" err="1">
                <a:hlinkClick r:id="rId3"/>
              </a:rPr>
              <a:t>DeepLIFT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 SHAP values satisfy 3 important conditions:</a:t>
            </a:r>
          </a:p>
          <a:p>
            <a:pPr marL="528017" lvl="2" indent="-342900">
              <a:buFont typeface="+mj-lt"/>
              <a:buAutoNum type="arabicPeriod"/>
            </a:pPr>
            <a:r>
              <a:rPr lang="en-GB" dirty="0">
                <a:solidFill>
                  <a:srgbClr val="E20074"/>
                </a:solidFill>
              </a:rPr>
              <a:t>Local Accuracy: </a:t>
            </a:r>
            <a:r>
              <a:rPr lang="en-GB" dirty="0"/>
              <a:t>asymptotically the effect of an estimated local effect should be equal to the actual one</a:t>
            </a:r>
          </a:p>
          <a:p>
            <a:pPr marL="528017" lvl="2" indent="-342900">
              <a:buFont typeface="+mj-lt"/>
              <a:buAutoNum type="arabicPeriod"/>
            </a:pPr>
            <a:r>
              <a:rPr lang="en-GB" dirty="0">
                <a:solidFill>
                  <a:srgbClr val="E20074"/>
                </a:solidFill>
              </a:rPr>
              <a:t>Missingness: </a:t>
            </a:r>
            <a:r>
              <a:rPr lang="en-GB" dirty="0"/>
              <a:t>the SHAP value of a 0 contribution is 0</a:t>
            </a:r>
          </a:p>
          <a:p>
            <a:pPr marL="528017" lvl="2" indent="-342900">
              <a:buFont typeface="+mj-lt"/>
              <a:buAutoNum type="arabicPeriod"/>
            </a:pPr>
            <a:r>
              <a:rPr lang="en-GB" dirty="0">
                <a:solidFill>
                  <a:srgbClr val="E20074"/>
                </a:solidFill>
              </a:rPr>
              <a:t>Consistency: </a:t>
            </a:r>
            <a:r>
              <a:rPr lang="en-GB" dirty="0"/>
              <a:t>feature effect moves in the same direction as the change of feature contribution</a:t>
            </a:r>
          </a:p>
          <a:p>
            <a:pPr lvl="2" indent="0">
              <a:buNone/>
            </a:pP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E67D4A-CE0F-C4B9-95FE-E6EB143BB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AP Explainer Algorithm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4787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AD7F6D-B3DB-4177-9F25-0EDA5482E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of SHAP</a:t>
            </a:r>
            <a:endParaRPr lang="cs-CZ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759186B-F4F3-467A-9481-59F8ECFA2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Reverse engineering (once you have the BEST model, you can start explain, no need to sacrifice predictive ability)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Marginal contributions are normalized and easily comparable (however no real-word metric is used)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Allows for non-linear effects</a:t>
            </a:r>
          </a:p>
          <a:p>
            <a:pPr marL="285750" indent="-285750">
              <a:buFont typeface="TeleNeo Office" panose="020B0504040202090203" pitchFamily="34" charset="0"/>
              <a:buChar char="+"/>
            </a:pPr>
            <a:r>
              <a:rPr lang="en-GB" dirty="0"/>
              <a:t>Computable even for complex models</a:t>
            </a:r>
            <a:endParaRPr lang="cs-CZ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cs-CZ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r>
              <a:rPr lang="cs-CZ" dirty="0" err="1"/>
              <a:t>Requires</a:t>
            </a:r>
            <a:r>
              <a:rPr lang="cs-CZ" dirty="0"/>
              <a:t> to </a:t>
            </a:r>
            <a:r>
              <a:rPr lang="cs-CZ" dirty="0" err="1"/>
              <a:t>train</a:t>
            </a:r>
            <a:r>
              <a:rPr lang="cs-CZ" dirty="0"/>
              <a:t> 2</a:t>
            </a:r>
            <a:r>
              <a:rPr lang="en-GB" baseline="30000" dirty="0"/>
              <a:t>n features </a:t>
            </a:r>
            <a:r>
              <a:rPr lang="en-GB" dirty="0"/>
              <a:t>models → Approximations </a:t>
            </a:r>
          </a:p>
          <a:p>
            <a:pPr marL="285750" indent="-285750">
              <a:buFont typeface="TeleNeo Office" panose="020B0504040202090203" pitchFamily="34" charset="0"/>
              <a:buChar char="-"/>
            </a:pPr>
            <a:r>
              <a:rPr lang="en-GB" dirty="0"/>
              <a:t>Uses resampling -&gt; not applicable for autocorrelated data sets</a:t>
            </a:r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-"/>
            </a:pPr>
            <a:endParaRPr lang="en-GB" dirty="0"/>
          </a:p>
          <a:p>
            <a:pPr marL="285750" indent="-285750">
              <a:buFont typeface="TeleNeo Office" panose="020B0504040202090203" pitchFamily="34" charset="0"/>
              <a:buChar char="+"/>
            </a:pPr>
            <a:endParaRPr lang="en-GB" dirty="0"/>
          </a:p>
          <a:p>
            <a:pPr marL="285750" indent="-285750">
              <a:buFontTx/>
              <a:buChar char="-"/>
            </a:pPr>
            <a:endParaRPr lang="cs-CZ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D422EC-C209-48BC-9E25-8F362B421B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1657" y="2253726"/>
            <a:ext cx="3988087" cy="3109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5D39C-272B-4579-BD14-1206A85D662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11477" y="1388377"/>
            <a:ext cx="10698407" cy="4165131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GB" dirty="0"/>
              <a:t>Easy-to-Build frontend to explore the models’ interpretability </a:t>
            </a:r>
          </a:p>
          <a:p>
            <a:pPr marL="285750" indent="-285750">
              <a:buFontTx/>
              <a:buChar char="-"/>
            </a:pPr>
            <a:r>
              <a:rPr lang="en-GB" dirty="0"/>
              <a:t>Employs SHAP values and standard metrics for multiple “</a:t>
            </a:r>
            <a:r>
              <a:rPr lang="en-GB" dirty="0" err="1"/>
              <a:t>sklearn</a:t>
            </a:r>
            <a:r>
              <a:rPr lang="en-GB" dirty="0"/>
              <a:t>-type” models</a:t>
            </a:r>
          </a:p>
          <a:p>
            <a:endParaRPr lang="cs-CZ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FE69A1-F600-4D14-A5AE-5A1DCD84C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8" y="240653"/>
            <a:ext cx="10698405" cy="503999"/>
          </a:xfrm>
        </p:spPr>
        <p:txBody>
          <a:bodyPr wrap="square" anchor="t">
            <a:normAutofit/>
          </a:bodyPr>
          <a:lstStyle/>
          <a:p>
            <a:r>
              <a:rPr lang="en-GB" sz="3400" dirty="0"/>
              <a:t>Explainer Dashboards</a:t>
            </a:r>
            <a:endParaRPr lang="cs-CZ" sz="3400" dirty="0"/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E68EE3F-6FB1-4CFF-8B6B-110A720504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038" y="4560773"/>
            <a:ext cx="3492372" cy="13207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39D55A-D216-42E1-977E-EC9B50A1438C}"/>
              </a:ext>
            </a:extLst>
          </p:cNvPr>
          <p:cNvSpPr/>
          <p:nvPr/>
        </p:nvSpPr>
        <p:spPr bwMode="gray">
          <a:xfrm>
            <a:off x="6960038" y="2528133"/>
            <a:ext cx="3492372" cy="188561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cs-CZ" sz="1800" dirty="0">
              <a:cs typeface="Arial Unicode MS" panose="020B0604020202020204" pitchFamily="34" charset="-128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27AA282-3E9B-4685-B9E0-5389B33B6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0346" y="2620049"/>
            <a:ext cx="2995743" cy="161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0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C9CCF7-294C-4FAE-8B5E-ECD5F9BB66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2196F9-94CB-4FAB-B7F7-01E537A53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 TIME!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680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DTSE_MASTER_4-3_DE_20161213">
  <a:themeElements>
    <a:clrScheme name="Benutzerdefiniert 1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T Standard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F6B3099D-9B3A-42A4-A0EB-E15FCE7621AB}" vid="{E0D34E02-4655-44F2-B49C-E5354E6B7B75}"/>
    </a:ext>
  </a:extLst>
</a:theme>
</file>

<file path=ppt/theme/theme2.xml><?xml version="1.0" encoding="utf-8"?>
<a:theme xmlns:a="http://schemas.openxmlformats.org/drawingml/2006/main" name="Telekom – Puzzle (06/2021)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esentation1" id="{F6B3099D-9B3A-42A4-A0EB-E15FCE7621AB}" vid="{9D50814A-D919-4031-BA0F-FF76098B1952}"/>
    </a:ext>
  </a:extLst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3941db7-e847-4eec-93a0-2a73614400cd">
      <Terms xmlns="http://schemas.microsoft.com/office/infopath/2007/PartnerControls"/>
    </lcf76f155ced4ddcb4097134ff3c332f>
    <TaxCatchAll xmlns="cca428f8-9d0f-452b-a6c3-d925fc6099d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7733A76DD1E2446AB55320AB4D9A861" ma:contentTypeVersion="16" ma:contentTypeDescription="Ein neues Dokument erstellen." ma:contentTypeScope="" ma:versionID="21df5c9b64ec3d9bf0d32b7e5ca468ca">
  <xsd:schema xmlns:xsd="http://www.w3.org/2001/XMLSchema" xmlns:xs="http://www.w3.org/2001/XMLSchema" xmlns:p="http://schemas.microsoft.com/office/2006/metadata/properties" xmlns:ns2="d3941db7-e847-4eec-93a0-2a73614400cd" xmlns:ns3="cca428f8-9d0f-452b-a6c3-d925fc6099da" targetNamespace="http://schemas.microsoft.com/office/2006/metadata/properties" ma:root="true" ma:fieldsID="33ef96356ee86504e68d45e1a5ea811c" ns2:_="" ns3:_="">
    <xsd:import namespace="d3941db7-e847-4eec-93a0-2a73614400cd"/>
    <xsd:import namespace="cca428f8-9d0f-452b-a6c3-d925fc6099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941db7-e847-4eec-93a0-2a73614400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a428f8-9d0f-452b-a6c3-d925fc6099d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b6b857a-230c-4587-8182-cd9e1949013c}" ma:internalName="TaxCatchAll" ma:showField="CatchAllData" ma:web="cca428f8-9d0f-452b-a6c3-d925fc6099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B2DECD-4BBE-4C18-8387-A6BE446CC22E}">
  <ds:schemaRefs>
    <ds:schemaRef ds:uri="http://schemas.microsoft.com/office/2006/metadata/properties"/>
    <ds:schemaRef ds:uri="http://schemas.microsoft.com/office/infopath/2007/PartnerControls"/>
    <ds:schemaRef ds:uri="d3941db7-e847-4eec-93a0-2a73614400cd"/>
    <ds:schemaRef ds:uri="cca428f8-9d0f-452b-a6c3-d925fc6099da"/>
  </ds:schemaRefs>
</ds:datastoreItem>
</file>

<file path=customXml/itemProps2.xml><?xml version="1.0" encoding="utf-8"?>
<ds:datastoreItem xmlns:ds="http://schemas.openxmlformats.org/officeDocument/2006/customXml" ds:itemID="{467CACED-44FF-49AA-A879-1D37F8FB85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992F592-9B14-4A6F-B1BE-BE7C42D54F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941db7-e847-4eec-93a0-2a73614400cd"/>
    <ds:schemaRef ds:uri="cca428f8-9d0f-452b-a6c3-d925fc6099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I Shared Services</Template>
  <TotalTime>0</TotalTime>
  <Words>377</Words>
  <Application>Microsoft Office PowerPoint</Application>
  <PresentationFormat>Custom</PresentationFormat>
  <Paragraphs>5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TeleGrotesk Headline Ultra</vt:lpstr>
      <vt:lpstr>Tele-GroteskFet</vt:lpstr>
      <vt:lpstr>Tele-GroteskNor</vt:lpstr>
      <vt:lpstr>Tele-GroteskUlt</vt:lpstr>
      <vt:lpstr>TeleNeo Office</vt:lpstr>
      <vt:lpstr>TeleNeo Office ExtraBold</vt:lpstr>
      <vt:lpstr>Wingdings</vt:lpstr>
      <vt:lpstr>Wingdings 2</vt:lpstr>
      <vt:lpstr>5_DTSE_MASTER_4-3_DE_20161213</vt:lpstr>
      <vt:lpstr>Telekom – Puzzle (06/2021) EN</vt:lpstr>
      <vt:lpstr>think-cell Folie</vt:lpstr>
      <vt:lpstr>Explainer Dashboard Demo Štěpán Vondráček</vt:lpstr>
      <vt:lpstr>Why Explainable AI?</vt:lpstr>
      <vt:lpstr>Curse of Explainability</vt:lpstr>
      <vt:lpstr>SHAP values </vt:lpstr>
      <vt:lpstr>Shapley values – original concept  Suppose you want to evaluate, how much did 4 workers contribute to the outcome to   fairly distribute their compensation:   </vt:lpstr>
      <vt:lpstr>SHAP Explainer Algorithms</vt:lpstr>
      <vt:lpstr>Benefits of SHAP</vt:lpstr>
      <vt:lpstr>Explainer Dashboards</vt:lpstr>
      <vt:lpstr>DEMO TIME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ainer Dashboard Demo Štěpán Vondráček</dc:title>
  <dc:creator>Vondráček, Štěpán</dc:creator>
  <cp:lastModifiedBy>Vondráček, Štěpán</cp:lastModifiedBy>
  <cp:revision>3</cp:revision>
  <dcterms:created xsi:type="dcterms:W3CDTF">2022-11-28T18:08:29Z</dcterms:created>
  <dcterms:modified xsi:type="dcterms:W3CDTF">2023-03-28T15:3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29036098C5B94DBCE62D9CBB22F8D1</vt:lpwstr>
  </property>
</Properties>
</file>